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8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720278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 March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488E7FB-DBD3-4F66-B3C7-8534250EFBC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42075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duced product flow deviation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neck rinsing</a:t>
                      </a:r>
                    </a:p>
                    <a:p>
                      <a:pPr marL="182563" marR="0" lvl="1" indent="-1825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Pct val="100000"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r>
                        <a:rPr lang="en-US" altLang="de-DE" sz="1200" noProof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mited risk of product residue on neck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current solution with valve body and plungers was designed to limit foaming on the neck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new solution improves it even more thanks to a valve body with a smaller outlet to decrease flow deviation</a:t>
                      </a: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product flow deviati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9917" y="1413941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sz="2000" dirty="0"/>
              <a:t>Upgraded plungers on filling valve to reduce flow deviation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Product Quality, Cost Optimis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Aseptic fillers (</a:t>
            </a:r>
            <a:r>
              <a:rPr kumimoji="0" lang="en-GB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Ma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SP005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2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5796" y="4185084"/>
            <a:ext cx="1662403" cy="1373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115" y="4185084"/>
            <a:ext cx="1661256" cy="13781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hteck 11">
            <a:extLst>
              <a:ext uri="{FF2B5EF4-FFF2-40B4-BE49-F238E27FC236}">
                <a16:creationId xmlns:a16="http://schemas.microsoft.com/office/drawing/2014/main" id="{BA4BE9C8-733F-4FBB-809A-F52CBFB72454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2036058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86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duce product flow deviatio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减少产品灌装流量偏差</dc:title>
  <dc:creator>Gouriou, Lydie</dc:creator>
  <cp:lastModifiedBy>Sorega, Dan</cp:lastModifiedBy>
  <cp:revision>6</cp:revision>
  <dcterms:created xsi:type="dcterms:W3CDTF">2014-07-21T08:52:21Z</dcterms:created>
  <dcterms:modified xsi:type="dcterms:W3CDTF">2021-03-05T15:1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08-19T12:47:30.7222016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6T11:02:42.835679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6T11:02:42.841679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